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BFB4E-1798-8572-B294-039E322D6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0FB032D-8253-0982-1F80-48AA78CB53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FB032D-8253-0982-1F80-48AA78CB5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57B393-065A-63B5-8865-18FD03210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3076DE-73B7-632E-5EF5-92D669462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45EDBAF-CDFB-FC20-32B4-EB83E9095C9C}"/>
              </a:ext>
            </a:extLst>
          </p:cNvPr>
          <p:cNvGrpSpPr/>
          <p:nvPr/>
        </p:nvGrpSpPr>
        <p:grpSpPr>
          <a:xfrm>
            <a:off x="831939" y="1648219"/>
            <a:ext cx="10499801" cy="3561562"/>
            <a:chOff x="2123069" y="5811261"/>
            <a:chExt cx="20131509" cy="682866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DBE2D95-8487-55D0-F31D-51EB826ADE5F}"/>
                </a:ext>
              </a:extLst>
            </p:cNvPr>
            <p:cNvSpPr/>
            <p:nvPr/>
          </p:nvSpPr>
          <p:spPr>
            <a:xfrm>
              <a:off x="2123069" y="8912823"/>
              <a:ext cx="3727104" cy="372710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7D9AD44-02E5-9555-87D1-7CF39A726F40}"/>
                </a:ext>
              </a:extLst>
            </p:cNvPr>
            <p:cNvSpPr/>
            <p:nvPr/>
          </p:nvSpPr>
          <p:spPr>
            <a:xfrm>
              <a:off x="7561007" y="5811261"/>
              <a:ext cx="3727104" cy="372710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FFB9DC7-28F2-EC2E-1D05-23AB76681A90}"/>
                </a:ext>
              </a:extLst>
            </p:cNvPr>
            <p:cNvSpPr/>
            <p:nvPr/>
          </p:nvSpPr>
          <p:spPr>
            <a:xfrm>
              <a:off x="13089535" y="8912823"/>
              <a:ext cx="3727104" cy="37271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D3CE9AA-B963-75BD-EF71-B6E3866A7024}"/>
                </a:ext>
              </a:extLst>
            </p:cNvPr>
            <p:cNvSpPr/>
            <p:nvPr/>
          </p:nvSpPr>
          <p:spPr>
            <a:xfrm>
              <a:off x="18527474" y="5811261"/>
              <a:ext cx="3727104" cy="37271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5D1FD6E-0EEA-2BDF-7344-B7D0ADF27B8B}"/>
              </a:ext>
            </a:extLst>
          </p:cNvPr>
          <p:cNvSpPr txBox="1"/>
          <p:nvPr/>
        </p:nvSpPr>
        <p:spPr>
          <a:xfrm flipH="1">
            <a:off x="419473" y="2575493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EC3127-3241-E6F0-1EFC-045E5FF647AC}"/>
              </a:ext>
            </a:extLst>
          </p:cNvPr>
          <p:cNvSpPr/>
          <p:nvPr/>
        </p:nvSpPr>
        <p:spPr>
          <a:xfrm flipH="1">
            <a:off x="924144" y="2191997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D40F61C-8FA3-2798-B828-83E573F4BBE6}"/>
              </a:ext>
            </a:extLst>
          </p:cNvPr>
          <p:cNvSpPr txBox="1"/>
          <p:nvPr/>
        </p:nvSpPr>
        <p:spPr>
          <a:xfrm flipH="1">
            <a:off x="3264643" y="4097308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17A4324-67E7-DDED-41A5-F711F197F715}"/>
              </a:ext>
            </a:extLst>
          </p:cNvPr>
          <p:cNvSpPr/>
          <p:nvPr/>
        </p:nvSpPr>
        <p:spPr>
          <a:xfrm flipH="1">
            <a:off x="3769314" y="3713812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F6E880-4163-D6F7-17AC-2AA0A9FFCCB4}"/>
              </a:ext>
            </a:extLst>
          </p:cNvPr>
          <p:cNvSpPr txBox="1"/>
          <p:nvPr/>
        </p:nvSpPr>
        <p:spPr>
          <a:xfrm flipH="1">
            <a:off x="6138233" y="2575493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165289-8366-1C79-A731-CC23217EE93F}"/>
              </a:ext>
            </a:extLst>
          </p:cNvPr>
          <p:cNvSpPr/>
          <p:nvPr/>
        </p:nvSpPr>
        <p:spPr>
          <a:xfrm flipH="1">
            <a:off x="6642904" y="2191996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4E3502-F8BA-ACAB-1EAB-79066DB6206D}"/>
              </a:ext>
            </a:extLst>
          </p:cNvPr>
          <p:cNvSpPr txBox="1"/>
          <p:nvPr/>
        </p:nvSpPr>
        <p:spPr>
          <a:xfrm flipH="1">
            <a:off x="8992184" y="4097307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B5CA23-2B99-E7C4-5EF7-362D6DD69E75}"/>
              </a:ext>
            </a:extLst>
          </p:cNvPr>
          <p:cNvSpPr/>
          <p:nvPr/>
        </p:nvSpPr>
        <p:spPr>
          <a:xfrm flipH="1">
            <a:off x="9085467" y="3713811"/>
            <a:ext cx="25840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3600" dirty="0">
              <a:solidFill>
                <a:schemeClr val="tx2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6" name="Forma libre 9">
            <a:extLst>
              <a:ext uri="{FF2B5EF4-FFF2-40B4-BE49-F238E27FC236}">
                <a16:creationId xmlns:a16="http://schemas.microsoft.com/office/drawing/2014/main" id="{BC06FD62-3351-1EF5-FF34-8381413D91ED}"/>
              </a:ext>
            </a:extLst>
          </p:cNvPr>
          <p:cNvSpPr/>
          <p:nvPr/>
        </p:nvSpPr>
        <p:spPr>
          <a:xfrm>
            <a:off x="4336179" y="2311071"/>
            <a:ext cx="651057" cy="624003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  <p:sp>
        <p:nvSpPr>
          <p:cNvPr id="37" name="Forma libre 63">
            <a:extLst>
              <a:ext uri="{FF2B5EF4-FFF2-40B4-BE49-F238E27FC236}">
                <a16:creationId xmlns:a16="http://schemas.microsoft.com/office/drawing/2014/main" id="{6DA3543E-F224-E06D-0918-E4C50359586E}"/>
              </a:ext>
            </a:extLst>
          </p:cNvPr>
          <p:cNvSpPr/>
          <p:nvPr/>
        </p:nvSpPr>
        <p:spPr>
          <a:xfrm>
            <a:off x="7187673" y="3833853"/>
            <a:ext cx="680478" cy="685401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  <p:grpSp>
        <p:nvGrpSpPr>
          <p:cNvPr id="38" name="Grupo 224">
            <a:extLst>
              <a:ext uri="{FF2B5EF4-FFF2-40B4-BE49-F238E27FC236}">
                <a16:creationId xmlns:a16="http://schemas.microsoft.com/office/drawing/2014/main" id="{C6720A8E-E4C8-A5A5-DAA6-6B647249C1E2}"/>
              </a:ext>
            </a:extLst>
          </p:cNvPr>
          <p:cNvGrpSpPr/>
          <p:nvPr/>
        </p:nvGrpSpPr>
        <p:grpSpPr>
          <a:xfrm>
            <a:off x="9987816" y="2265130"/>
            <a:ext cx="704867" cy="710085"/>
            <a:chOff x="5014564" y="2955589"/>
            <a:chExt cx="939996" cy="946954"/>
          </a:xfrm>
          <a:solidFill>
            <a:schemeClr val="bg1"/>
          </a:solidFill>
        </p:grpSpPr>
        <p:sp>
          <p:nvSpPr>
            <p:cNvPr id="40" name="Forma libre 87">
              <a:extLst>
                <a:ext uri="{FF2B5EF4-FFF2-40B4-BE49-F238E27FC236}">
                  <a16:creationId xmlns:a16="http://schemas.microsoft.com/office/drawing/2014/main" id="{AA05F814-5770-838B-B002-801703060338}"/>
                </a:ext>
              </a:extLst>
            </p:cNvPr>
            <p:cNvSpPr/>
            <p:nvPr/>
          </p:nvSpPr>
          <p:spPr>
            <a:xfrm>
              <a:off x="5014564" y="2955589"/>
              <a:ext cx="483059" cy="483059"/>
            </a:xfrm>
            <a:custGeom>
              <a:avLst/>
              <a:gdLst>
                <a:gd name="connsiteX0" fmla="*/ 242383 w 483059"/>
                <a:gd name="connsiteY0" fmla="*/ 482731 h 483059"/>
                <a:gd name="connsiteX1" fmla="*/ 242777 w 483059"/>
                <a:gd name="connsiteY1" fmla="*/ 482731 h 483059"/>
                <a:gd name="connsiteX2" fmla="*/ 253672 w 483059"/>
                <a:gd name="connsiteY2" fmla="*/ 482469 h 483059"/>
                <a:gd name="connsiteX3" fmla="*/ 482731 w 483059"/>
                <a:gd name="connsiteY3" fmla="*/ 241858 h 483059"/>
                <a:gd name="connsiteX4" fmla="*/ 241858 w 483059"/>
                <a:gd name="connsiteY4" fmla="*/ 984 h 483059"/>
                <a:gd name="connsiteX5" fmla="*/ 984 w 483059"/>
                <a:gd name="connsiteY5" fmla="*/ 241858 h 483059"/>
                <a:gd name="connsiteX6" fmla="*/ 241858 w 483059"/>
                <a:gd name="connsiteY6" fmla="*/ 482731 h 483059"/>
                <a:gd name="connsiteX7" fmla="*/ 242383 w 483059"/>
                <a:gd name="connsiteY7" fmla="*/ 482731 h 483059"/>
                <a:gd name="connsiteX8" fmla="*/ 241070 w 483059"/>
                <a:gd name="connsiteY8" fmla="*/ 278613 h 483059"/>
                <a:gd name="connsiteX9" fmla="*/ 171106 w 483059"/>
                <a:gd name="connsiteY9" fmla="*/ 208648 h 483059"/>
                <a:gd name="connsiteX10" fmla="*/ 241070 w 483059"/>
                <a:gd name="connsiteY10" fmla="*/ 138683 h 483059"/>
                <a:gd name="connsiteX11" fmla="*/ 311035 w 483059"/>
                <a:gd name="connsiteY11" fmla="*/ 208648 h 483059"/>
                <a:gd name="connsiteX12" fmla="*/ 241070 w 483059"/>
                <a:gd name="connsiteY12" fmla="*/ 278613 h 483059"/>
                <a:gd name="connsiteX13" fmla="*/ 241070 w 483059"/>
                <a:gd name="connsiteY13" fmla="*/ 364329 h 483059"/>
                <a:gd name="connsiteX14" fmla="*/ 347659 w 483059"/>
                <a:gd name="connsiteY14" fmla="*/ 395833 h 483059"/>
                <a:gd name="connsiteX15" fmla="*/ 251178 w 483059"/>
                <a:gd name="connsiteY15" fmla="*/ 435344 h 483059"/>
                <a:gd name="connsiteX16" fmla="*/ 242383 w 483059"/>
                <a:gd name="connsiteY16" fmla="*/ 435607 h 483059"/>
                <a:gd name="connsiteX17" fmla="*/ 136451 w 483059"/>
                <a:gd name="connsiteY17" fmla="*/ 394520 h 483059"/>
                <a:gd name="connsiteX18" fmla="*/ 241070 w 483059"/>
                <a:gd name="connsiteY18" fmla="*/ 364329 h 483059"/>
                <a:gd name="connsiteX19" fmla="*/ 48503 w 483059"/>
                <a:gd name="connsiteY19" fmla="*/ 241858 h 483059"/>
                <a:gd name="connsiteX20" fmla="*/ 242121 w 483059"/>
                <a:gd name="connsiteY20" fmla="*/ 48240 h 483059"/>
                <a:gd name="connsiteX21" fmla="*/ 435738 w 483059"/>
                <a:gd name="connsiteY21" fmla="*/ 241858 h 483059"/>
                <a:gd name="connsiteX22" fmla="*/ 388482 w 483059"/>
                <a:gd name="connsiteY22" fmla="*/ 368398 h 483059"/>
                <a:gd name="connsiteX23" fmla="*/ 386645 w 483059"/>
                <a:gd name="connsiteY23" fmla="*/ 366692 h 483059"/>
                <a:gd name="connsiteX24" fmla="*/ 278875 w 483059"/>
                <a:gd name="connsiteY24" fmla="*/ 319699 h 483059"/>
                <a:gd name="connsiteX25" fmla="*/ 358291 w 483059"/>
                <a:gd name="connsiteY25" fmla="*/ 208648 h 483059"/>
                <a:gd name="connsiteX26" fmla="*/ 241070 w 483059"/>
                <a:gd name="connsiteY26" fmla="*/ 91427 h 483059"/>
                <a:gd name="connsiteX27" fmla="*/ 123850 w 483059"/>
                <a:gd name="connsiteY27" fmla="*/ 208648 h 483059"/>
                <a:gd name="connsiteX28" fmla="*/ 203397 w 483059"/>
                <a:gd name="connsiteY28" fmla="*/ 319699 h 483059"/>
                <a:gd name="connsiteX29" fmla="*/ 98121 w 483059"/>
                <a:gd name="connsiteY29" fmla="*/ 364461 h 483059"/>
                <a:gd name="connsiteX30" fmla="*/ 94971 w 483059"/>
                <a:gd name="connsiteY30" fmla="*/ 367611 h 483059"/>
                <a:gd name="connsiteX31" fmla="*/ 48503 w 483059"/>
                <a:gd name="connsiteY31" fmla="*/ 241858 h 4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83059" h="483059">
                  <a:moveTo>
                    <a:pt x="242383" y="482731"/>
                  </a:moveTo>
                  <a:cubicBezTo>
                    <a:pt x="242514" y="482731"/>
                    <a:pt x="242646" y="482731"/>
                    <a:pt x="242777" y="482731"/>
                  </a:cubicBezTo>
                  <a:cubicBezTo>
                    <a:pt x="246452" y="482731"/>
                    <a:pt x="249997" y="482600"/>
                    <a:pt x="253672" y="482469"/>
                  </a:cubicBezTo>
                  <a:cubicBezTo>
                    <a:pt x="381000" y="476299"/>
                    <a:pt x="482731" y="370761"/>
                    <a:pt x="482731" y="241858"/>
                  </a:cubicBezTo>
                  <a:cubicBezTo>
                    <a:pt x="482731" y="109017"/>
                    <a:pt x="374699" y="984"/>
                    <a:pt x="241858" y="984"/>
                  </a:cubicBezTo>
                  <a:cubicBezTo>
                    <a:pt x="109017" y="984"/>
                    <a:pt x="984" y="109017"/>
                    <a:pt x="984" y="241858"/>
                  </a:cubicBezTo>
                  <a:cubicBezTo>
                    <a:pt x="984" y="374699"/>
                    <a:pt x="109017" y="482731"/>
                    <a:pt x="241858" y="482731"/>
                  </a:cubicBezTo>
                  <a:cubicBezTo>
                    <a:pt x="242121" y="482731"/>
                    <a:pt x="242252" y="482731"/>
                    <a:pt x="242383" y="482731"/>
                  </a:cubicBezTo>
                  <a:close/>
                  <a:moveTo>
                    <a:pt x="241070" y="278613"/>
                  </a:moveTo>
                  <a:cubicBezTo>
                    <a:pt x="202478" y="278613"/>
                    <a:pt x="171106" y="247240"/>
                    <a:pt x="171106" y="208648"/>
                  </a:cubicBezTo>
                  <a:cubicBezTo>
                    <a:pt x="171106" y="170055"/>
                    <a:pt x="202478" y="138683"/>
                    <a:pt x="241070" y="138683"/>
                  </a:cubicBezTo>
                  <a:cubicBezTo>
                    <a:pt x="279663" y="138683"/>
                    <a:pt x="311035" y="170055"/>
                    <a:pt x="311035" y="208648"/>
                  </a:cubicBezTo>
                  <a:cubicBezTo>
                    <a:pt x="311035" y="247240"/>
                    <a:pt x="279663" y="278613"/>
                    <a:pt x="241070" y="278613"/>
                  </a:cubicBezTo>
                  <a:close/>
                  <a:moveTo>
                    <a:pt x="241070" y="364329"/>
                  </a:moveTo>
                  <a:cubicBezTo>
                    <a:pt x="282419" y="364329"/>
                    <a:pt x="321537" y="376012"/>
                    <a:pt x="347659" y="395833"/>
                  </a:cubicBezTo>
                  <a:cubicBezTo>
                    <a:pt x="320749" y="419724"/>
                    <a:pt x="287014" y="433507"/>
                    <a:pt x="251178" y="435344"/>
                  </a:cubicBezTo>
                  <a:cubicBezTo>
                    <a:pt x="248290" y="435476"/>
                    <a:pt x="245402" y="435607"/>
                    <a:pt x="242383" y="435607"/>
                  </a:cubicBezTo>
                  <a:cubicBezTo>
                    <a:pt x="202741" y="435476"/>
                    <a:pt x="165461" y="421036"/>
                    <a:pt x="136451" y="394520"/>
                  </a:cubicBezTo>
                  <a:cubicBezTo>
                    <a:pt x="162573" y="375356"/>
                    <a:pt x="200903" y="364329"/>
                    <a:pt x="241070" y="364329"/>
                  </a:cubicBezTo>
                  <a:close/>
                  <a:moveTo>
                    <a:pt x="48503" y="241858"/>
                  </a:moveTo>
                  <a:cubicBezTo>
                    <a:pt x="48503" y="135139"/>
                    <a:pt x="135401" y="48240"/>
                    <a:pt x="242121" y="48240"/>
                  </a:cubicBezTo>
                  <a:cubicBezTo>
                    <a:pt x="348840" y="48240"/>
                    <a:pt x="435738" y="135139"/>
                    <a:pt x="435738" y="241858"/>
                  </a:cubicBezTo>
                  <a:cubicBezTo>
                    <a:pt x="435738" y="290164"/>
                    <a:pt x="417886" y="334532"/>
                    <a:pt x="388482" y="368398"/>
                  </a:cubicBezTo>
                  <a:cubicBezTo>
                    <a:pt x="387958" y="367742"/>
                    <a:pt x="387301" y="367217"/>
                    <a:pt x="386645" y="366692"/>
                  </a:cubicBezTo>
                  <a:cubicBezTo>
                    <a:pt x="359604" y="342145"/>
                    <a:pt x="321537" y="325868"/>
                    <a:pt x="278875" y="319699"/>
                  </a:cubicBezTo>
                  <a:cubicBezTo>
                    <a:pt x="325081" y="303947"/>
                    <a:pt x="358291" y="260104"/>
                    <a:pt x="358291" y="208648"/>
                  </a:cubicBezTo>
                  <a:cubicBezTo>
                    <a:pt x="358291" y="143933"/>
                    <a:pt x="305653" y="91427"/>
                    <a:pt x="241070" y="91427"/>
                  </a:cubicBezTo>
                  <a:cubicBezTo>
                    <a:pt x="176488" y="91427"/>
                    <a:pt x="123850" y="144065"/>
                    <a:pt x="123850" y="208648"/>
                  </a:cubicBezTo>
                  <a:cubicBezTo>
                    <a:pt x="123850" y="260104"/>
                    <a:pt x="157191" y="303947"/>
                    <a:pt x="203397" y="319699"/>
                  </a:cubicBezTo>
                  <a:cubicBezTo>
                    <a:pt x="162179" y="325606"/>
                    <a:pt x="125031" y="341226"/>
                    <a:pt x="98121" y="364461"/>
                  </a:cubicBezTo>
                  <a:cubicBezTo>
                    <a:pt x="96940" y="365379"/>
                    <a:pt x="95890" y="366429"/>
                    <a:pt x="94971" y="367611"/>
                  </a:cubicBezTo>
                  <a:cubicBezTo>
                    <a:pt x="65961" y="333613"/>
                    <a:pt x="48503" y="289770"/>
                    <a:pt x="48503" y="241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  <p:sp>
          <p:nvSpPr>
            <p:cNvPr id="41" name="Forma libre 88">
              <a:extLst>
                <a:ext uri="{FF2B5EF4-FFF2-40B4-BE49-F238E27FC236}">
                  <a16:creationId xmlns:a16="http://schemas.microsoft.com/office/drawing/2014/main" id="{F7C9E687-2833-5AB8-6503-F7476B86D208}"/>
                </a:ext>
              </a:extLst>
            </p:cNvPr>
            <p:cNvSpPr/>
            <p:nvPr/>
          </p:nvSpPr>
          <p:spPr>
            <a:xfrm>
              <a:off x="5471501" y="3141199"/>
              <a:ext cx="483059" cy="761344"/>
            </a:xfrm>
            <a:custGeom>
              <a:avLst/>
              <a:gdLst>
                <a:gd name="connsiteX0" fmla="*/ 482863 w 483059"/>
                <a:gd name="connsiteY0" fmla="*/ 520667 h 761343"/>
                <a:gd name="connsiteX1" fmla="*/ 255641 w 483059"/>
                <a:gd name="connsiteY1" fmla="*/ 280188 h 761343"/>
                <a:gd name="connsiteX2" fmla="*/ 256429 w 483059"/>
                <a:gd name="connsiteY2" fmla="*/ 279925 h 761343"/>
                <a:gd name="connsiteX3" fmla="*/ 257478 w 483059"/>
                <a:gd name="connsiteY3" fmla="*/ 279663 h 761343"/>
                <a:gd name="connsiteX4" fmla="*/ 258660 w 483059"/>
                <a:gd name="connsiteY4" fmla="*/ 279269 h 761343"/>
                <a:gd name="connsiteX5" fmla="*/ 259710 w 483059"/>
                <a:gd name="connsiteY5" fmla="*/ 278875 h 761343"/>
                <a:gd name="connsiteX6" fmla="*/ 260760 w 483059"/>
                <a:gd name="connsiteY6" fmla="*/ 278350 h 761343"/>
                <a:gd name="connsiteX7" fmla="*/ 261811 w 483059"/>
                <a:gd name="connsiteY7" fmla="*/ 277825 h 761343"/>
                <a:gd name="connsiteX8" fmla="*/ 262729 w 483059"/>
                <a:gd name="connsiteY8" fmla="*/ 277300 h 761343"/>
                <a:gd name="connsiteX9" fmla="*/ 263780 w 483059"/>
                <a:gd name="connsiteY9" fmla="*/ 276643 h 761343"/>
                <a:gd name="connsiteX10" fmla="*/ 264829 w 483059"/>
                <a:gd name="connsiteY10" fmla="*/ 275856 h 761343"/>
                <a:gd name="connsiteX11" fmla="*/ 265749 w 483059"/>
                <a:gd name="connsiteY11" fmla="*/ 275199 h 761343"/>
                <a:gd name="connsiteX12" fmla="*/ 267455 w 483059"/>
                <a:gd name="connsiteY12" fmla="*/ 273624 h 761343"/>
                <a:gd name="connsiteX13" fmla="*/ 267455 w 483059"/>
                <a:gd name="connsiteY13" fmla="*/ 273624 h 761343"/>
                <a:gd name="connsiteX14" fmla="*/ 324424 w 483059"/>
                <a:gd name="connsiteY14" fmla="*/ 216655 h 761343"/>
                <a:gd name="connsiteX15" fmla="*/ 324424 w 483059"/>
                <a:gd name="connsiteY15" fmla="*/ 183182 h 761343"/>
                <a:gd name="connsiteX16" fmla="*/ 290951 w 483059"/>
                <a:gd name="connsiteY16" fmla="*/ 183182 h 761343"/>
                <a:gd name="connsiteX17" fmla="*/ 274281 w 483059"/>
                <a:gd name="connsiteY17" fmla="*/ 199853 h 761343"/>
                <a:gd name="connsiteX18" fmla="*/ 274281 w 483059"/>
                <a:gd name="connsiteY18" fmla="*/ 128969 h 761343"/>
                <a:gd name="connsiteX19" fmla="*/ 212060 w 483059"/>
                <a:gd name="connsiteY19" fmla="*/ 20018 h 761343"/>
                <a:gd name="connsiteX20" fmla="*/ 69636 w 483059"/>
                <a:gd name="connsiteY20" fmla="*/ 984 h 761343"/>
                <a:gd name="connsiteX21" fmla="*/ 46009 w 483059"/>
                <a:gd name="connsiteY21" fmla="*/ 24612 h 761343"/>
                <a:gd name="connsiteX22" fmla="*/ 69636 w 483059"/>
                <a:gd name="connsiteY22" fmla="*/ 48240 h 761343"/>
                <a:gd name="connsiteX23" fmla="*/ 192370 w 483059"/>
                <a:gd name="connsiteY23" fmla="*/ 62942 h 761343"/>
                <a:gd name="connsiteX24" fmla="*/ 227025 w 483059"/>
                <a:gd name="connsiteY24" fmla="*/ 128838 h 761343"/>
                <a:gd name="connsiteX25" fmla="*/ 227025 w 483059"/>
                <a:gd name="connsiteY25" fmla="*/ 199721 h 761343"/>
                <a:gd name="connsiteX26" fmla="*/ 210354 w 483059"/>
                <a:gd name="connsiteY26" fmla="*/ 183051 h 761343"/>
                <a:gd name="connsiteX27" fmla="*/ 176881 w 483059"/>
                <a:gd name="connsiteY27" fmla="*/ 183051 h 761343"/>
                <a:gd name="connsiteX28" fmla="*/ 176881 w 483059"/>
                <a:gd name="connsiteY28" fmla="*/ 216523 h 761343"/>
                <a:gd name="connsiteX29" fmla="*/ 233851 w 483059"/>
                <a:gd name="connsiteY29" fmla="*/ 273493 h 761343"/>
                <a:gd name="connsiteX30" fmla="*/ 235557 w 483059"/>
                <a:gd name="connsiteY30" fmla="*/ 275068 h 761343"/>
                <a:gd name="connsiteX31" fmla="*/ 236344 w 483059"/>
                <a:gd name="connsiteY31" fmla="*/ 275725 h 761343"/>
                <a:gd name="connsiteX32" fmla="*/ 237395 w 483059"/>
                <a:gd name="connsiteY32" fmla="*/ 276512 h 761343"/>
                <a:gd name="connsiteX33" fmla="*/ 238445 w 483059"/>
                <a:gd name="connsiteY33" fmla="*/ 277168 h 761343"/>
                <a:gd name="connsiteX34" fmla="*/ 239364 w 483059"/>
                <a:gd name="connsiteY34" fmla="*/ 277694 h 761343"/>
                <a:gd name="connsiteX35" fmla="*/ 240414 w 483059"/>
                <a:gd name="connsiteY35" fmla="*/ 278219 h 761343"/>
                <a:gd name="connsiteX36" fmla="*/ 241464 w 483059"/>
                <a:gd name="connsiteY36" fmla="*/ 278744 h 761343"/>
                <a:gd name="connsiteX37" fmla="*/ 242514 w 483059"/>
                <a:gd name="connsiteY37" fmla="*/ 279137 h 761343"/>
                <a:gd name="connsiteX38" fmla="*/ 243695 w 483059"/>
                <a:gd name="connsiteY38" fmla="*/ 279531 h 761343"/>
                <a:gd name="connsiteX39" fmla="*/ 244090 w 483059"/>
                <a:gd name="connsiteY39" fmla="*/ 279663 h 761343"/>
                <a:gd name="connsiteX40" fmla="*/ 241858 w 483059"/>
                <a:gd name="connsiteY40" fmla="*/ 279663 h 761343"/>
                <a:gd name="connsiteX41" fmla="*/ 984 w 483059"/>
                <a:gd name="connsiteY41" fmla="*/ 520536 h 761343"/>
                <a:gd name="connsiteX42" fmla="*/ 241858 w 483059"/>
                <a:gd name="connsiteY42" fmla="*/ 761409 h 761343"/>
                <a:gd name="connsiteX43" fmla="*/ 242251 w 483059"/>
                <a:gd name="connsiteY43" fmla="*/ 761409 h 761343"/>
                <a:gd name="connsiteX44" fmla="*/ 242646 w 483059"/>
                <a:gd name="connsiteY44" fmla="*/ 761409 h 761343"/>
                <a:gd name="connsiteX45" fmla="*/ 253540 w 483059"/>
                <a:gd name="connsiteY45" fmla="*/ 761147 h 761343"/>
                <a:gd name="connsiteX46" fmla="*/ 482863 w 483059"/>
                <a:gd name="connsiteY46" fmla="*/ 520667 h 761343"/>
                <a:gd name="connsiteX47" fmla="*/ 48372 w 483059"/>
                <a:gd name="connsiteY47" fmla="*/ 520667 h 761343"/>
                <a:gd name="connsiteX48" fmla="*/ 241989 w 483059"/>
                <a:gd name="connsiteY48" fmla="*/ 327049 h 761343"/>
                <a:gd name="connsiteX49" fmla="*/ 435607 w 483059"/>
                <a:gd name="connsiteY49" fmla="*/ 520667 h 761343"/>
                <a:gd name="connsiteX50" fmla="*/ 388351 w 483059"/>
                <a:gd name="connsiteY50" fmla="*/ 647208 h 761343"/>
                <a:gd name="connsiteX51" fmla="*/ 386513 w 483059"/>
                <a:gd name="connsiteY51" fmla="*/ 645501 h 761343"/>
                <a:gd name="connsiteX52" fmla="*/ 278744 w 483059"/>
                <a:gd name="connsiteY52" fmla="*/ 598508 h 761343"/>
                <a:gd name="connsiteX53" fmla="*/ 358160 w 483059"/>
                <a:gd name="connsiteY53" fmla="*/ 487457 h 761343"/>
                <a:gd name="connsiteX54" fmla="*/ 240939 w 483059"/>
                <a:gd name="connsiteY54" fmla="*/ 370236 h 761343"/>
                <a:gd name="connsiteX55" fmla="*/ 123718 w 483059"/>
                <a:gd name="connsiteY55" fmla="*/ 487457 h 761343"/>
                <a:gd name="connsiteX56" fmla="*/ 203266 w 483059"/>
                <a:gd name="connsiteY56" fmla="*/ 598508 h 761343"/>
                <a:gd name="connsiteX57" fmla="*/ 97990 w 483059"/>
                <a:gd name="connsiteY57" fmla="*/ 643270 h 761343"/>
                <a:gd name="connsiteX58" fmla="*/ 94840 w 483059"/>
                <a:gd name="connsiteY58" fmla="*/ 646420 h 761343"/>
                <a:gd name="connsiteX59" fmla="*/ 48372 w 483059"/>
                <a:gd name="connsiteY59" fmla="*/ 520667 h 761343"/>
                <a:gd name="connsiteX60" fmla="*/ 242383 w 483059"/>
                <a:gd name="connsiteY60" fmla="*/ 714285 h 761343"/>
                <a:gd name="connsiteX61" fmla="*/ 136451 w 483059"/>
                <a:gd name="connsiteY61" fmla="*/ 673199 h 761343"/>
                <a:gd name="connsiteX62" fmla="*/ 241070 w 483059"/>
                <a:gd name="connsiteY62" fmla="*/ 643138 h 761343"/>
                <a:gd name="connsiteX63" fmla="*/ 347659 w 483059"/>
                <a:gd name="connsiteY63" fmla="*/ 674642 h 761343"/>
                <a:gd name="connsiteX64" fmla="*/ 251178 w 483059"/>
                <a:gd name="connsiteY64" fmla="*/ 714154 h 761343"/>
                <a:gd name="connsiteX65" fmla="*/ 242383 w 483059"/>
                <a:gd name="connsiteY65" fmla="*/ 714285 h 761343"/>
                <a:gd name="connsiteX66" fmla="*/ 240939 w 483059"/>
                <a:gd name="connsiteY66" fmla="*/ 557553 h 761343"/>
                <a:gd name="connsiteX67" fmla="*/ 170974 w 483059"/>
                <a:gd name="connsiteY67" fmla="*/ 487588 h 761343"/>
                <a:gd name="connsiteX68" fmla="*/ 240939 w 483059"/>
                <a:gd name="connsiteY68" fmla="*/ 417623 h 761343"/>
                <a:gd name="connsiteX69" fmla="*/ 310904 w 483059"/>
                <a:gd name="connsiteY69" fmla="*/ 487588 h 761343"/>
                <a:gd name="connsiteX70" fmla="*/ 240939 w 483059"/>
                <a:gd name="connsiteY70" fmla="*/ 557553 h 76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83059" h="761343">
                  <a:moveTo>
                    <a:pt x="482863" y="520667"/>
                  </a:moveTo>
                  <a:cubicBezTo>
                    <a:pt x="482863" y="392420"/>
                    <a:pt x="382181" y="287276"/>
                    <a:pt x="255641" y="280188"/>
                  </a:cubicBezTo>
                  <a:cubicBezTo>
                    <a:pt x="255904" y="280188"/>
                    <a:pt x="256166" y="280056"/>
                    <a:pt x="256429" y="279925"/>
                  </a:cubicBezTo>
                  <a:cubicBezTo>
                    <a:pt x="256822" y="279794"/>
                    <a:pt x="257085" y="279794"/>
                    <a:pt x="257478" y="279663"/>
                  </a:cubicBezTo>
                  <a:cubicBezTo>
                    <a:pt x="257873" y="279531"/>
                    <a:pt x="258266" y="279400"/>
                    <a:pt x="258660" y="279269"/>
                  </a:cubicBezTo>
                  <a:cubicBezTo>
                    <a:pt x="259054" y="279137"/>
                    <a:pt x="259316" y="279006"/>
                    <a:pt x="259710" y="278875"/>
                  </a:cubicBezTo>
                  <a:cubicBezTo>
                    <a:pt x="260104" y="278744"/>
                    <a:pt x="260367" y="278612"/>
                    <a:pt x="260760" y="278350"/>
                  </a:cubicBezTo>
                  <a:cubicBezTo>
                    <a:pt x="261154" y="278219"/>
                    <a:pt x="261548" y="277956"/>
                    <a:pt x="261811" y="277825"/>
                  </a:cubicBezTo>
                  <a:cubicBezTo>
                    <a:pt x="262073" y="277694"/>
                    <a:pt x="262467" y="277431"/>
                    <a:pt x="262729" y="277300"/>
                  </a:cubicBezTo>
                  <a:cubicBezTo>
                    <a:pt x="263123" y="277037"/>
                    <a:pt x="263385" y="276906"/>
                    <a:pt x="263780" y="276643"/>
                  </a:cubicBezTo>
                  <a:cubicBezTo>
                    <a:pt x="264173" y="276381"/>
                    <a:pt x="264436" y="276118"/>
                    <a:pt x="264829" y="275856"/>
                  </a:cubicBezTo>
                  <a:cubicBezTo>
                    <a:pt x="265092" y="275593"/>
                    <a:pt x="265354" y="275462"/>
                    <a:pt x="265749" y="275199"/>
                  </a:cubicBezTo>
                  <a:cubicBezTo>
                    <a:pt x="266405" y="274674"/>
                    <a:pt x="266930" y="274149"/>
                    <a:pt x="267455" y="273624"/>
                  </a:cubicBezTo>
                  <a:cubicBezTo>
                    <a:pt x="267455" y="273624"/>
                    <a:pt x="267455" y="273624"/>
                    <a:pt x="267455" y="273624"/>
                  </a:cubicBezTo>
                  <a:lnTo>
                    <a:pt x="324424" y="216655"/>
                  </a:lnTo>
                  <a:cubicBezTo>
                    <a:pt x="333613" y="207466"/>
                    <a:pt x="333613" y="192502"/>
                    <a:pt x="324424" y="183182"/>
                  </a:cubicBezTo>
                  <a:cubicBezTo>
                    <a:pt x="315236" y="173993"/>
                    <a:pt x="300271" y="173993"/>
                    <a:pt x="290951" y="183182"/>
                  </a:cubicBezTo>
                  <a:lnTo>
                    <a:pt x="274281" y="199853"/>
                  </a:lnTo>
                  <a:lnTo>
                    <a:pt x="274281" y="128969"/>
                  </a:lnTo>
                  <a:cubicBezTo>
                    <a:pt x="274281" y="74887"/>
                    <a:pt x="253935" y="39314"/>
                    <a:pt x="212060" y="20018"/>
                  </a:cubicBezTo>
                  <a:cubicBezTo>
                    <a:pt x="177537" y="4135"/>
                    <a:pt x="131988" y="984"/>
                    <a:pt x="69636" y="984"/>
                  </a:cubicBezTo>
                  <a:cubicBezTo>
                    <a:pt x="56641" y="984"/>
                    <a:pt x="46009" y="11617"/>
                    <a:pt x="46009" y="24612"/>
                  </a:cubicBezTo>
                  <a:cubicBezTo>
                    <a:pt x="46009" y="37608"/>
                    <a:pt x="56641" y="48240"/>
                    <a:pt x="69636" y="48240"/>
                  </a:cubicBezTo>
                  <a:cubicBezTo>
                    <a:pt x="123981" y="48240"/>
                    <a:pt x="165724" y="50734"/>
                    <a:pt x="192370" y="62942"/>
                  </a:cubicBezTo>
                  <a:cubicBezTo>
                    <a:pt x="209566" y="70818"/>
                    <a:pt x="227025" y="84732"/>
                    <a:pt x="227025" y="128838"/>
                  </a:cubicBezTo>
                  <a:lnTo>
                    <a:pt x="227025" y="199721"/>
                  </a:lnTo>
                  <a:lnTo>
                    <a:pt x="210354" y="183051"/>
                  </a:lnTo>
                  <a:cubicBezTo>
                    <a:pt x="201165" y="173862"/>
                    <a:pt x="186201" y="173862"/>
                    <a:pt x="176881" y="183051"/>
                  </a:cubicBezTo>
                  <a:cubicBezTo>
                    <a:pt x="167693" y="192239"/>
                    <a:pt x="167693" y="207204"/>
                    <a:pt x="176881" y="216523"/>
                  </a:cubicBezTo>
                  <a:lnTo>
                    <a:pt x="233851" y="273493"/>
                  </a:lnTo>
                  <a:cubicBezTo>
                    <a:pt x="234375" y="274018"/>
                    <a:pt x="235032" y="274543"/>
                    <a:pt x="235557" y="275068"/>
                  </a:cubicBezTo>
                  <a:cubicBezTo>
                    <a:pt x="235820" y="275331"/>
                    <a:pt x="236082" y="275462"/>
                    <a:pt x="236344" y="275725"/>
                  </a:cubicBezTo>
                  <a:cubicBezTo>
                    <a:pt x="236739" y="275987"/>
                    <a:pt x="237001" y="276250"/>
                    <a:pt x="237395" y="276512"/>
                  </a:cubicBezTo>
                  <a:cubicBezTo>
                    <a:pt x="237789" y="276775"/>
                    <a:pt x="238051" y="276906"/>
                    <a:pt x="238445" y="277168"/>
                  </a:cubicBezTo>
                  <a:cubicBezTo>
                    <a:pt x="238708" y="277300"/>
                    <a:pt x="239101" y="277562"/>
                    <a:pt x="239364" y="277694"/>
                  </a:cubicBezTo>
                  <a:cubicBezTo>
                    <a:pt x="239758" y="277825"/>
                    <a:pt x="240020" y="278087"/>
                    <a:pt x="240414" y="278219"/>
                  </a:cubicBezTo>
                  <a:cubicBezTo>
                    <a:pt x="240808" y="278350"/>
                    <a:pt x="241070" y="278612"/>
                    <a:pt x="241464" y="278744"/>
                  </a:cubicBezTo>
                  <a:cubicBezTo>
                    <a:pt x="241858" y="278875"/>
                    <a:pt x="242121" y="279006"/>
                    <a:pt x="242514" y="279137"/>
                  </a:cubicBezTo>
                  <a:cubicBezTo>
                    <a:pt x="242908" y="279269"/>
                    <a:pt x="243302" y="279400"/>
                    <a:pt x="243695" y="279531"/>
                  </a:cubicBezTo>
                  <a:cubicBezTo>
                    <a:pt x="243827" y="279531"/>
                    <a:pt x="243958" y="279663"/>
                    <a:pt x="244090" y="279663"/>
                  </a:cubicBezTo>
                  <a:cubicBezTo>
                    <a:pt x="243302" y="279663"/>
                    <a:pt x="242646" y="279663"/>
                    <a:pt x="241858" y="279663"/>
                  </a:cubicBezTo>
                  <a:cubicBezTo>
                    <a:pt x="109016" y="279663"/>
                    <a:pt x="984" y="387695"/>
                    <a:pt x="984" y="520536"/>
                  </a:cubicBezTo>
                  <a:cubicBezTo>
                    <a:pt x="984" y="653377"/>
                    <a:pt x="109016" y="761409"/>
                    <a:pt x="241858" y="761409"/>
                  </a:cubicBezTo>
                  <a:cubicBezTo>
                    <a:pt x="241989" y="761409"/>
                    <a:pt x="242121" y="761409"/>
                    <a:pt x="242251" y="761409"/>
                  </a:cubicBezTo>
                  <a:cubicBezTo>
                    <a:pt x="242383" y="761409"/>
                    <a:pt x="242514" y="761409"/>
                    <a:pt x="242646" y="761409"/>
                  </a:cubicBezTo>
                  <a:cubicBezTo>
                    <a:pt x="246321" y="761409"/>
                    <a:pt x="249865" y="761278"/>
                    <a:pt x="253540" y="761147"/>
                  </a:cubicBezTo>
                  <a:cubicBezTo>
                    <a:pt x="381131" y="755109"/>
                    <a:pt x="482863" y="649571"/>
                    <a:pt x="482863" y="520667"/>
                  </a:cubicBezTo>
                  <a:close/>
                  <a:moveTo>
                    <a:pt x="48372" y="520667"/>
                  </a:moveTo>
                  <a:cubicBezTo>
                    <a:pt x="48372" y="413948"/>
                    <a:pt x="135270" y="327049"/>
                    <a:pt x="241989" y="327049"/>
                  </a:cubicBezTo>
                  <a:cubicBezTo>
                    <a:pt x="348708" y="327049"/>
                    <a:pt x="435607" y="413948"/>
                    <a:pt x="435607" y="520667"/>
                  </a:cubicBezTo>
                  <a:cubicBezTo>
                    <a:pt x="435607" y="568973"/>
                    <a:pt x="417755" y="613341"/>
                    <a:pt x="388351" y="647208"/>
                  </a:cubicBezTo>
                  <a:cubicBezTo>
                    <a:pt x="387826" y="646551"/>
                    <a:pt x="387170" y="646026"/>
                    <a:pt x="386513" y="645501"/>
                  </a:cubicBezTo>
                  <a:cubicBezTo>
                    <a:pt x="359472" y="620955"/>
                    <a:pt x="321405" y="604677"/>
                    <a:pt x="278744" y="598508"/>
                  </a:cubicBezTo>
                  <a:cubicBezTo>
                    <a:pt x="324949" y="582756"/>
                    <a:pt x="358160" y="538913"/>
                    <a:pt x="358160" y="487457"/>
                  </a:cubicBezTo>
                  <a:cubicBezTo>
                    <a:pt x="358160" y="422743"/>
                    <a:pt x="305522" y="370236"/>
                    <a:pt x="240939" y="370236"/>
                  </a:cubicBezTo>
                  <a:cubicBezTo>
                    <a:pt x="176356" y="370236"/>
                    <a:pt x="123718" y="422874"/>
                    <a:pt x="123718" y="487457"/>
                  </a:cubicBezTo>
                  <a:cubicBezTo>
                    <a:pt x="123718" y="538913"/>
                    <a:pt x="157060" y="582756"/>
                    <a:pt x="203266" y="598508"/>
                  </a:cubicBezTo>
                  <a:cubicBezTo>
                    <a:pt x="162048" y="604415"/>
                    <a:pt x="124900" y="620036"/>
                    <a:pt x="97990" y="643270"/>
                  </a:cubicBezTo>
                  <a:cubicBezTo>
                    <a:pt x="96809" y="644189"/>
                    <a:pt x="95759" y="645239"/>
                    <a:pt x="94840" y="646420"/>
                  </a:cubicBezTo>
                  <a:cubicBezTo>
                    <a:pt x="65961" y="612553"/>
                    <a:pt x="48372" y="568579"/>
                    <a:pt x="48372" y="520667"/>
                  </a:cubicBezTo>
                  <a:close/>
                  <a:moveTo>
                    <a:pt x="242383" y="714285"/>
                  </a:moveTo>
                  <a:cubicBezTo>
                    <a:pt x="202741" y="714154"/>
                    <a:pt x="165461" y="699714"/>
                    <a:pt x="136451" y="673199"/>
                  </a:cubicBezTo>
                  <a:cubicBezTo>
                    <a:pt x="162573" y="654296"/>
                    <a:pt x="200903" y="643138"/>
                    <a:pt x="241070" y="643138"/>
                  </a:cubicBezTo>
                  <a:cubicBezTo>
                    <a:pt x="282419" y="643138"/>
                    <a:pt x="321537" y="654821"/>
                    <a:pt x="347659" y="674642"/>
                  </a:cubicBezTo>
                  <a:cubicBezTo>
                    <a:pt x="320749" y="698533"/>
                    <a:pt x="287013" y="712316"/>
                    <a:pt x="251178" y="714154"/>
                  </a:cubicBezTo>
                  <a:cubicBezTo>
                    <a:pt x="248290" y="714154"/>
                    <a:pt x="245271" y="714285"/>
                    <a:pt x="242383" y="714285"/>
                  </a:cubicBezTo>
                  <a:close/>
                  <a:moveTo>
                    <a:pt x="240939" y="557553"/>
                  </a:moveTo>
                  <a:cubicBezTo>
                    <a:pt x="202347" y="557553"/>
                    <a:pt x="170974" y="526181"/>
                    <a:pt x="170974" y="487588"/>
                  </a:cubicBezTo>
                  <a:cubicBezTo>
                    <a:pt x="170974" y="448996"/>
                    <a:pt x="202347" y="417623"/>
                    <a:pt x="240939" y="417623"/>
                  </a:cubicBezTo>
                  <a:cubicBezTo>
                    <a:pt x="279532" y="417623"/>
                    <a:pt x="310904" y="448996"/>
                    <a:pt x="310904" y="487588"/>
                  </a:cubicBezTo>
                  <a:cubicBezTo>
                    <a:pt x="310904" y="526049"/>
                    <a:pt x="279532" y="557553"/>
                    <a:pt x="240939" y="557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  <p:sp>
          <p:nvSpPr>
            <p:cNvPr id="42" name="Forma libre 89">
              <a:extLst>
                <a:ext uri="{FF2B5EF4-FFF2-40B4-BE49-F238E27FC236}">
                  <a16:creationId xmlns:a16="http://schemas.microsoft.com/office/drawing/2014/main" id="{4FB91A1B-3E64-0B05-72A4-FF48116C7D61}"/>
                </a:ext>
              </a:extLst>
            </p:cNvPr>
            <p:cNvSpPr/>
            <p:nvPr/>
          </p:nvSpPr>
          <p:spPr>
            <a:xfrm>
              <a:off x="5165585" y="3443899"/>
              <a:ext cx="286160" cy="280910"/>
            </a:xfrm>
            <a:custGeom>
              <a:avLst/>
              <a:gdLst>
                <a:gd name="connsiteX0" fmla="*/ 262926 w 286160"/>
                <a:gd name="connsiteY0" fmla="*/ 233063 h 280909"/>
                <a:gd name="connsiteX1" fmla="*/ 140192 w 286160"/>
                <a:gd name="connsiteY1" fmla="*/ 218361 h 280909"/>
                <a:gd name="connsiteX2" fmla="*/ 105538 w 286160"/>
                <a:gd name="connsiteY2" fmla="*/ 152466 h 280909"/>
                <a:gd name="connsiteX3" fmla="*/ 105538 w 286160"/>
                <a:gd name="connsiteY3" fmla="*/ 81582 h 280909"/>
                <a:gd name="connsiteX4" fmla="*/ 122209 w 286160"/>
                <a:gd name="connsiteY4" fmla="*/ 98253 h 280909"/>
                <a:gd name="connsiteX5" fmla="*/ 138880 w 286160"/>
                <a:gd name="connsiteY5" fmla="*/ 105210 h 280909"/>
                <a:gd name="connsiteX6" fmla="*/ 155550 w 286160"/>
                <a:gd name="connsiteY6" fmla="*/ 98253 h 280909"/>
                <a:gd name="connsiteX7" fmla="*/ 155550 w 286160"/>
                <a:gd name="connsiteY7" fmla="*/ 64780 h 280909"/>
                <a:gd name="connsiteX8" fmla="*/ 98581 w 286160"/>
                <a:gd name="connsiteY8" fmla="*/ 7810 h 280909"/>
                <a:gd name="connsiteX9" fmla="*/ 98450 w 286160"/>
                <a:gd name="connsiteY9" fmla="*/ 7810 h 280909"/>
                <a:gd name="connsiteX10" fmla="*/ 96743 w 286160"/>
                <a:gd name="connsiteY10" fmla="*/ 6366 h 280909"/>
                <a:gd name="connsiteX11" fmla="*/ 95956 w 286160"/>
                <a:gd name="connsiteY11" fmla="*/ 5710 h 280909"/>
                <a:gd name="connsiteX12" fmla="*/ 94905 w 286160"/>
                <a:gd name="connsiteY12" fmla="*/ 4922 h 280909"/>
                <a:gd name="connsiteX13" fmla="*/ 93855 w 286160"/>
                <a:gd name="connsiteY13" fmla="*/ 4266 h 280909"/>
                <a:gd name="connsiteX14" fmla="*/ 92937 w 286160"/>
                <a:gd name="connsiteY14" fmla="*/ 3741 h 280909"/>
                <a:gd name="connsiteX15" fmla="*/ 91886 w 286160"/>
                <a:gd name="connsiteY15" fmla="*/ 3216 h 280909"/>
                <a:gd name="connsiteX16" fmla="*/ 90836 w 286160"/>
                <a:gd name="connsiteY16" fmla="*/ 2691 h 280909"/>
                <a:gd name="connsiteX17" fmla="*/ 89786 w 286160"/>
                <a:gd name="connsiteY17" fmla="*/ 2297 h 280909"/>
                <a:gd name="connsiteX18" fmla="*/ 88605 w 286160"/>
                <a:gd name="connsiteY18" fmla="*/ 1903 h 280909"/>
                <a:gd name="connsiteX19" fmla="*/ 87554 w 286160"/>
                <a:gd name="connsiteY19" fmla="*/ 1641 h 280909"/>
                <a:gd name="connsiteX20" fmla="*/ 86373 w 286160"/>
                <a:gd name="connsiteY20" fmla="*/ 1378 h 280909"/>
                <a:gd name="connsiteX21" fmla="*/ 85192 w 286160"/>
                <a:gd name="connsiteY21" fmla="*/ 1247 h 280909"/>
                <a:gd name="connsiteX22" fmla="*/ 84142 w 286160"/>
                <a:gd name="connsiteY22" fmla="*/ 1116 h 280909"/>
                <a:gd name="connsiteX23" fmla="*/ 81779 w 286160"/>
                <a:gd name="connsiteY23" fmla="*/ 984 h 280909"/>
                <a:gd name="connsiteX24" fmla="*/ 81779 w 286160"/>
                <a:gd name="connsiteY24" fmla="*/ 984 h 280909"/>
                <a:gd name="connsiteX25" fmla="*/ 81779 w 286160"/>
                <a:gd name="connsiteY25" fmla="*/ 984 h 280909"/>
                <a:gd name="connsiteX26" fmla="*/ 81779 w 286160"/>
                <a:gd name="connsiteY26" fmla="*/ 984 h 280909"/>
                <a:gd name="connsiteX27" fmla="*/ 79416 w 286160"/>
                <a:gd name="connsiteY27" fmla="*/ 1116 h 280909"/>
                <a:gd name="connsiteX28" fmla="*/ 78366 w 286160"/>
                <a:gd name="connsiteY28" fmla="*/ 1247 h 280909"/>
                <a:gd name="connsiteX29" fmla="*/ 77053 w 286160"/>
                <a:gd name="connsiteY29" fmla="*/ 1378 h 280909"/>
                <a:gd name="connsiteX30" fmla="*/ 75872 w 286160"/>
                <a:gd name="connsiteY30" fmla="*/ 1641 h 280909"/>
                <a:gd name="connsiteX31" fmla="*/ 74691 w 286160"/>
                <a:gd name="connsiteY31" fmla="*/ 1903 h 280909"/>
                <a:gd name="connsiteX32" fmla="*/ 73640 w 286160"/>
                <a:gd name="connsiteY32" fmla="*/ 2297 h 280909"/>
                <a:gd name="connsiteX33" fmla="*/ 72590 w 286160"/>
                <a:gd name="connsiteY33" fmla="*/ 2691 h 280909"/>
                <a:gd name="connsiteX34" fmla="*/ 71671 w 286160"/>
                <a:gd name="connsiteY34" fmla="*/ 3085 h 280909"/>
                <a:gd name="connsiteX35" fmla="*/ 70490 w 286160"/>
                <a:gd name="connsiteY35" fmla="*/ 3610 h 280909"/>
                <a:gd name="connsiteX36" fmla="*/ 69571 w 286160"/>
                <a:gd name="connsiteY36" fmla="*/ 4135 h 280909"/>
                <a:gd name="connsiteX37" fmla="*/ 68521 w 286160"/>
                <a:gd name="connsiteY37" fmla="*/ 4791 h 280909"/>
                <a:gd name="connsiteX38" fmla="*/ 67602 w 286160"/>
                <a:gd name="connsiteY38" fmla="*/ 5447 h 280909"/>
                <a:gd name="connsiteX39" fmla="*/ 66815 w 286160"/>
                <a:gd name="connsiteY39" fmla="*/ 6104 h 280909"/>
                <a:gd name="connsiteX40" fmla="*/ 66683 w 286160"/>
                <a:gd name="connsiteY40" fmla="*/ 6104 h 280909"/>
                <a:gd name="connsiteX41" fmla="*/ 64977 w 286160"/>
                <a:gd name="connsiteY41" fmla="*/ 7548 h 280909"/>
                <a:gd name="connsiteX42" fmla="*/ 64846 w 286160"/>
                <a:gd name="connsiteY42" fmla="*/ 7679 h 280909"/>
                <a:gd name="connsiteX43" fmla="*/ 7876 w 286160"/>
                <a:gd name="connsiteY43" fmla="*/ 64649 h 280909"/>
                <a:gd name="connsiteX44" fmla="*/ 7876 w 286160"/>
                <a:gd name="connsiteY44" fmla="*/ 98121 h 280909"/>
                <a:gd name="connsiteX45" fmla="*/ 24547 w 286160"/>
                <a:gd name="connsiteY45" fmla="*/ 105078 h 280909"/>
                <a:gd name="connsiteX46" fmla="*/ 41218 w 286160"/>
                <a:gd name="connsiteY46" fmla="*/ 98121 h 280909"/>
                <a:gd name="connsiteX47" fmla="*/ 57889 w 286160"/>
                <a:gd name="connsiteY47" fmla="*/ 81450 h 280909"/>
                <a:gd name="connsiteX48" fmla="*/ 57889 w 286160"/>
                <a:gd name="connsiteY48" fmla="*/ 152334 h 280909"/>
                <a:gd name="connsiteX49" fmla="*/ 120109 w 286160"/>
                <a:gd name="connsiteY49" fmla="*/ 261285 h 280909"/>
                <a:gd name="connsiteX50" fmla="*/ 262533 w 286160"/>
                <a:gd name="connsiteY50" fmla="*/ 280319 h 280909"/>
                <a:gd name="connsiteX51" fmla="*/ 286161 w 286160"/>
                <a:gd name="connsiteY51" fmla="*/ 256691 h 280909"/>
                <a:gd name="connsiteX52" fmla="*/ 262926 w 286160"/>
                <a:gd name="connsiteY52" fmla="*/ 233063 h 28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6160" h="280909">
                  <a:moveTo>
                    <a:pt x="262926" y="233063"/>
                  </a:moveTo>
                  <a:cubicBezTo>
                    <a:pt x="208582" y="233063"/>
                    <a:pt x="166839" y="230569"/>
                    <a:pt x="140192" y="218361"/>
                  </a:cubicBezTo>
                  <a:cubicBezTo>
                    <a:pt x="122996" y="210485"/>
                    <a:pt x="105538" y="196571"/>
                    <a:pt x="105538" y="152466"/>
                  </a:cubicBezTo>
                  <a:lnTo>
                    <a:pt x="105538" y="81582"/>
                  </a:lnTo>
                  <a:lnTo>
                    <a:pt x="122209" y="98253"/>
                  </a:lnTo>
                  <a:cubicBezTo>
                    <a:pt x="126803" y="102847"/>
                    <a:pt x="132841" y="105210"/>
                    <a:pt x="138880" y="105210"/>
                  </a:cubicBezTo>
                  <a:cubicBezTo>
                    <a:pt x="144918" y="105210"/>
                    <a:pt x="150956" y="102847"/>
                    <a:pt x="155550" y="98253"/>
                  </a:cubicBezTo>
                  <a:cubicBezTo>
                    <a:pt x="164739" y="89064"/>
                    <a:pt x="164739" y="74100"/>
                    <a:pt x="155550" y="64780"/>
                  </a:cubicBezTo>
                  <a:lnTo>
                    <a:pt x="98581" y="7810"/>
                  </a:lnTo>
                  <a:cubicBezTo>
                    <a:pt x="98581" y="7810"/>
                    <a:pt x="98581" y="7810"/>
                    <a:pt x="98450" y="7810"/>
                  </a:cubicBezTo>
                  <a:cubicBezTo>
                    <a:pt x="97925" y="7285"/>
                    <a:pt x="97399" y="6760"/>
                    <a:pt x="96743" y="6366"/>
                  </a:cubicBezTo>
                  <a:cubicBezTo>
                    <a:pt x="96481" y="6104"/>
                    <a:pt x="96218" y="5972"/>
                    <a:pt x="95956" y="5710"/>
                  </a:cubicBezTo>
                  <a:cubicBezTo>
                    <a:pt x="95562" y="5447"/>
                    <a:pt x="95299" y="5185"/>
                    <a:pt x="94905" y="4922"/>
                  </a:cubicBezTo>
                  <a:cubicBezTo>
                    <a:pt x="94512" y="4660"/>
                    <a:pt x="94249" y="4529"/>
                    <a:pt x="93855" y="4266"/>
                  </a:cubicBezTo>
                  <a:cubicBezTo>
                    <a:pt x="93593" y="4135"/>
                    <a:pt x="93199" y="3872"/>
                    <a:pt x="92937" y="3741"/>
                  </a:cubicBezTo>
                  <a:cubicBezTo>
                    <a:pt x="92543" y="3610"/>
                    <a:pt x="92280" y="3347"/>
                    <a:pt x="91886" y="3216"/>
                  </a:cubicBezTo>
                  <a:cubicBezTo>
                    <a:pt x="91492" y="3085"/>
                    <a:pt x="91230" y="2822"/>
                    <a:pt x="90836" y="2691"/>
                  </a:cubicBezTo>
                  <a:cubicBezTo>
                    <a:pt x="90443" y="2560"/>
                    <a:pt x="90180" y="2428"/>
                    <a:pt x="89786" y="2297"/>
                  </a:cubicBezTo>
                  <a:cubicBezTo>
                    <a:pt x="89392" y="2166"/>
                    <a:pt x="88999" y="2034"/>
                    <a:pt x="88605" y="1903"/>
                  </a:cubicBezTo>
                  <a:cubicBezTo>
                    <a:pt x="88211" y="1772"/>
                    <a:pt x="87948" y="1772"/>
                    <a:pt x="87554" y="1641"/>
                  </a:cubicBezTo>
                  <a:cubicBezTo>
                    <a:pt x="87161" y="1509"/>
                    <a:pt x="86767" y="1378"/>
                    <a:pt x="86373" y="1378"/>
                  </a:cubicBezTo>
                  <a:cubicBezTo>
                    <a:pt x="85979" y="1247"/>
                    <a:pt x="85585" y="1247"/>
                    <a:pt x="85192" y="1247"/>
                  </a:cubicBezTo>
                  <a:cubicBezTo>
                    <a:pt x="84798" y="1247"/>
                    <a:pt x="84536" y="1116"/>
                    <a:pt x="84142" y="1116"/>
                  </a:cubicBezTo>
                  <a:cubicBezTo>
                    <a:pt x="83354" y="984"/>
                    <a:pt x="82567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0991" y="984"/>
                    <a:pt x="80204" y="984"/>
                    <a:pt x="79416" y="1116"/>
                  </a:cubicBezTo>
                  <a:cubicBezTo>
                    <a:pt x="79022" y="1116"/>
                    <a:pt x="78760" y="1247"/>
                    <a:pt x="78366" y="1247"/>
                  </a:cubicBezTo>
                  <a:cubicBezTo>
                    <a:pt x="77972" y="1247"/>
                    <a:pt x="77447" y="1378"/>
                    <a:pt x="77053" y="1378"/>
                  </a:cubicBezTo>
                  <a:cubicBezTo>
                    <a:pt x="76660" y="1509"/>
                    <a:pt x="76266" y="1509"/>
                    <a:pt x="75872" y="1641"/>
                  </a:cubicBezTo>
                  <a:cubicBezTo>
                    <a:pt x="75478" y="1772"/>
                    <a:pt x="75084" y="1772"/>
                    <a:pt x="74691" y="1903"/>
                  </a:cubicBezTo>
                  <a:cubicBezTo>
                    <a:pt x="74297" y="2034"/>
                    <a:pt x="74034" y="2166"/>
                    <a:pt x="73640" y="2297"/>
                  </a:cubicBezTo>
                  <a:cubicBezTo>
                    <a:pt x="73247" y="2428"/>
                    <a:pt x="72853" y="2560"/>
                    <a:pt x="72590" y="2691"/>
                  </a:cubicBezTo>
                  <a:cubicBezTo>
                    <a:pt x="72196" y="2822"/>
                    <a:pt x="71934" y="2953"/>
                    <a:pt x="71671" y="3085"/>
                  </a:cubicBezTo>
                  <a:cubicBezTo>
                    <a:pt x="71278" y="3216"/>
                    <a:pt x="70884" y="3478"/>
                    <a:pt x="70490" y="3610"/>
                  </a:cubicBezTo>
                  <a:cubicBezTo>
                    <a:pt x="70227" y="3741"/>
                    <a:pt x="69834" y="4003"/>
                    <a:pt x="69571" y="4135"/>
                  </a:cubicBezTo>
                  <a:cubicBezTo>
                    <a:pt x="69177" y="4397"/>
                    <a:pt x="68784" y="4529"/>
                    <a:pt x="68521" y="4791"/>
                  </a:cubicBezTo>
                  <a:cubicBezTo>
                    <a:pt x="68258" y="5054"/>
                    <a:pt x="67865" y="5316"/>
                    <a:pt x="67602" y="5447"/>
                  </a:cubicBezTo>
                  <a:cubicBezTo>
                    <a:pt x="67340" y="5710"/>
                    <a:pt x="67077" y="5841"/>
                    <a:pt x="66815" y="6104"/>
                  </a:cubicBezTo>
                  <a:cubicBezTo>
                    <a:pt x="66815" y="6104"/>
                    <a:pt x="66815" y="6104"/>
                    <a:pt x="66683" y="6104"/>
                  </a:cubicBezTo>
                  <a:cubicBezTo>
                    <a:pt x="66158" y="6629"/>
                    <a:pt x="65502" y="7023"/>
                    <a:pt x="64977" y="7548"/>
                  </a:cubicBezTo>
                  <a:cubicBezTo>
                    <a:pt x="64977" y="7548"/>
                    <a:pt x="64977" y="7548"/>
                    <a:pt x="64846" y="7679"/>
                  </a:cubicBezTo>
                  <a:lnTo>
                    <a:pt x="7876" y="64649"/>
                  </a:lnTo>
                  <a:cubicBezTo>
                    <a:pt x="-1313" y="73837"/>
                    <a:pt x="-1313" y="88801"/>
                    <a:pt x="7876" y="98121"/>
                  </a:cubicBezTo>
                  <a:cubicBezTo>
                    <a:pt x="12470" y="102716"/>
                    <a:pt x="18509" y="105078"/>
                    <a:pt x="24547" y="105078"/>
                  </a:cubicBezTo>
                  <a:cubicBezTo>
                    <a:pt x="30585" y="105078"/>
                    <a:pt x="36623" y="102716"/>
                    <a:pt x="41218" y="98121"/>
                  </a:cubicBezTo>
                  <a:lnTo>
                    <a:pt x="57889" y="81450"/>
                  </a:lnTo>
                  <a:lnTo>
                    <a:pt x="57889" y="152334"/>
                  </a:lnTo>
                  <a:cubicBezTo>
                    <a:pt x="57889" y="206416"/>
                    <a:pt x="78235" y="241989"/>
                    <a:pt x="120109" y="261285"/>
                  </a:cubicBezTo>
                  <a:cubicBezTo>
                    <a:pt x="154632" y="277168"/>
                    <a:pt x="200181" y="280319"/>
                    <a:pt x="262533" y="280319"/>
                  </a:cubicBezTo>
                  <a:cubicBezTo>
                    <a:pt x="275528" y="280319"/>
                    <a:pt x="286161" y="269686"/>
                    <a:pt x="286161" y="256691"/>
                  </a:cubicBezTo>
                  <a:cubicBezTo>
                    <a:pt x="286161" y="243695"/>
                    <a:pt x="275921" y="233063"/>
                    <a:pt x="262926" y="23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</p:grpSp>
      <p:sp>
        <p:nvSpPr>
          <p:cNvPr id="39" name="Forma libre 6">
            <a:extLst>
              <a:ext uri="{FF2B5EF4-FFF2-40B4-BE49-F238E27FC236}">
                <a16:creationId xmlns:a16="http://schemas.microsoft.com/office/drawing/2014/main" id="{D585D6D1-82B1-EF1A-651D-98A7AD12D710}"/>
              </a:ext>
            </a:extLst>
          </p:cNvPr>
          <p:cNvSpPr/>
          <p:nvPr/>
        </p:nvSpPr>
        <p:spPr>
          <a:xfrm>
            <a:off x="1566635" y="3920254"/>
            <a:ext cx="552766" cy="594244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</p:spTree>
    <p:extLst>
      <p:ext uri="{BB962C8B-B14F-4D97-AF65-F5344CB8AC3E}">
        <p14:creationId xmlns:p14="http://schemas.microsoft.com/office/powerpoint/2010/main" val="1883948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3</TotalTime>
  <Words>4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ourier New</vt:lpstr>
      <vt:lpstr>Crimson Pro</vt:lpstr>
      <vt:lpstr>Lato Light</vt:lpstr>
      <vt:lpstr>Roboto</vt:lpstr>
      <vt:lpstr>Roboto Medium</vt:lpstr>
      <vt:lpstr>Wingdings</vt:lpstr>
      <vt:lpstr>Office Theme</vt:lpstr>
      <vt:lpstr>think-cell Slide</vt:lpstr>
      <vt:lpstr>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46</cp:revision>
  <dcterms:created xsi:type="dcterms:W3CDTF">2021-03-31T02:49:57Z</dcterms:created>
  <dcterms:modified xsi:type="dcterms:W3CDTF">2025-10-16T11:38:39Z</dcterms:modified>
  <cp:category/>
</cp:coreProperties>
</file>